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BDBDBD"/>
    <a:srgbClr val="727272"/>
    <a:srgbClr val="E5E5E5"/>
    <a:srgbClr val="D9D9D9"/>
    <a:srgbClr val="EB0000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1:45.450" v="9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1:45.450" v="9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2:59:44.900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Männer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weniger als 5 Jahre</c:v>
                </c:pt>
                <c:pt idx="1">
                  <c:v>zwischen 5 und 9 Jahren</c:v>
                </c:pt>
                <c:pt idx="2">
                  <c:v>zwischen 10 und 14 Jahren</c:v>
                </c:pt>
                <c:pt idx="3">
                  <c:v>zwischen 15 und 19 Jahren</c:v>
                </c:pt>
                <c:pt idx="4">
                  <c:v>zwischen 20 und 24 Jahren</c:v>
                </c:pt>
                <c:pt idx="5">
                  <c:v>zwischen 25 und 29 Jahren</c:v>
                </c:pt>
                <c:pt idx="6">
                  <c:v>zwischen 30 und 34 Jahren</c:v>
                </c:pt>
                <c:pt idx="7">
                  <c:v>zwischen 35 und 39 Jahren</c:v>
                </c:pt>
                <c:pt idx="8">
                  <c:v>zwischen 40 und 44 Jahren</c:v>
                </c:pt>
                <c:pt idx="9">
                  <c:v>45 Jahre und mehr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298</c:v>
                </c:pt>
                <c:pt idx="1">
                  <c:v>-4606</c:v>
                </c:pt>
                <c:pt idx="2">
                  <c:v>-3554</c:v>
                </c:pt>
                <c:pt idx="3">
                  <c:v>-2025</c:v>
                </c:pt>
                <c:pt idx="4">
                  <c:v>-1592</c:v>
                </c:pt>
                <c:pt idx="5">
                  <c:v>-453</c:v>
                </c:pt>
                <c:pt idx="6">
                  <c:v>-1241</c:v>
                </c:pt>
                <c:pt idx="7">
                  <c:v>-2420</c:v>
                </c:pt>
                <c:pt idx="8">
                  <c:v>-1155</c:v>
                </c:pt>
                <c:pt idx="9">
                  <c:v>-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Frauen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weniger als 5 Jahre</c:v>
                </c:pt>
                <c:pt idx="1">
                  <c:v>zwischen 5 und 9 Jahren</c:v>
                </c:pt>
                <c:pt idx="2">
                  <c:v>zwischen 10 und 14 Jahren</c:v>
                </c:pt>
                <c:pt idx="3">
                  <c:v>zwischen 15 und 19 Jahren</c:v>
                </c:pt>
                <c:pt idx="4">
                  <c:v>zwischen 20 und 24 Jahren</c:v>
                </c:pt>
                <c:pt idx="5">
                  <c:v>zwischen 25 und 29 Jahren</c:v>
                </c:pt>
                <c:pt idx="6">
                  <c:v>zwischen 30 und 34 Jahren</c:v>
                </c:pt>
                <c:pt idx="7">
                  <c:v>zwischen 35 und 39 Jahren</c:v>
                </c:pt>
                <c:pt idx="8">
                  <c:v>zwischen 40 und 44 Jahren</c:v>
                </c:pt>
                <c:pt idx="9">
                  <c:v>45 Jahre und mehr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728</c:v>
                </c:pt>
                <c:pt idx="1">
                  <c:v>1380</c:v>
                </c:pt>
                <c:pt idx="2">
                  <c:v>961</c:v>
                </c:pt>
                <c:pt idx="3">
                  <c:v>527</c:v>
                </c:pt>
                <c:pt idx="4">
                  <c:v>378</c:v>
                </c:pt>
                <c:pt idx="5">
                  <c:v>103</c:v>
                </c:pt>
                <c:pt idx="6">
                  <c:v>263</c:v>
                </c:pt>
                <c:pt idx="7">
                  <c:v>335</c:v>
                </c:pt>
                <c:pt idx="8">
                  <c:v>74</c:v>
                </c:pt>
                <c:pt idx="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299</cdr:x>
      <cdr:y>0.03681</cdr:y>
    </cdr:from>
    <cdr:to>
      <cdr:x>0.64821</cdr:x>
      <cdr:y>0.0891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730365" y="164669"/>
          <a:ext cx="752260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Männer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103</cdr:x>
      <cdr:y>0.03681</cdr:y>
    </cdr:from>
    <cdr:to>
      <cdr:x>0.73221</cdr:x>
      <cdr:y>0.0891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10874" y="164669"/>
          <a:ext cx="711856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Frau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Mitarbeitende nach Dienstalter im 2025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57892" y="6092825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6365041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de-CH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Anzahl Mitarbeitende am Jahresende. SBB AG und SBB Cargo AG (Schweiz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2643236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6842BB-672B-47E1-971B-EF894A8CEC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Mitarbeitende nach Dienstalter im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arbeitende nach Dienstalter im 2024._x000b_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